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</p:sldMasterIdLst>
  <p:notesMasterIdLst>
    <p:notesMasterId r:id="rId21"/>
  </p:notesMasterIdLst>
  <p:handoutMasterIdLst>
    <p:handoutMasterId r:id="rId22"/>
  </p:handoutMasterIdLst>
  <p:sldIdLst>
    <p:sldId id="410" r:id="rId5"/>
    <p:sldId id="383" r:id="rId6"/>
    <p:sldId id="411" r:id="rId7"/>
    <p:sldId id="412" r:id="rId8"/>
    <p:sldId id="413" r:id="rId9"/>
    <p:sldId id="414" r:id="rId10"/>
    <p:sldId id="415" r:id="rId11"/>
    <p:sldId id="417" r:id="rId12"/>
    <p:sldId id="418" r:id="rId13"/>
    <p:sldId id="419" r:id="rId14"/>
    <p:sldId id="420" r:id="rId15"/>
    <p:sldId id="421" r:id="rId16"/>
    <p:sldId id="423" r:id="rId17"/>
    <p:sldId id="422" r:id="rId18"/>
    <p:sldId id="416" r:id="rId19"/>
    <p:sldId id="398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8A107856-5554-42FB-B03E-39F5DBC370B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7" autoAdjust="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3240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F6756E-81DA-9FAC-70D8-556F658BDDA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BEDD12-BCD5-485B-BCBC-34BB01D7923C}" type="datetimeFigureOut">
              <a:rPr lang="en-US" smtClean="0"/>
              <a:t>10/22/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1D415-D05A-7067-CCD3-457153D96C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C230DF-5933-439D-898F-38E9AC9BA68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97095E3-54D2-CFD2-4F49-7536FC8641D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521EE01A-C0B5-5ECF-96DD-768F86AA15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2284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E7A52F-9D89-7442-A8E9-48D1527B5F6B}" type="datetimeFigureOut">
              <a:rPr lang="en-US" smtClean="0"/>
              <a:t>10/2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C7E07-3C67-C64C-8DA0-0404F630397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528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453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41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7675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05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923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904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69706A2-3726-FE4E-B923-E75D48597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3275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Tab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F555767-B3D8-BD57-1D42-7F6E1E668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BC972B6D-098C-52F6-E990-52623B368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F0D3EE3-9A8C-531D-1EEE-1AFAB9F3B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A2BE192C-1768-890B-EC1B-5ED6E1F82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1409" y="4661717"/>
            <a:ext cx="7936230" cy="138076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670935" y="631317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885" y="584005"/>
            <a:ext cx="2825115" cy="3999060"/>
          </a:xfrm>
        </p:spPr>
        <p:txBody>
          <a:bodyPr lIns="0" tIns="27432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457200" indent="0">
              <a:spcBef>
                <a:spcPts val="1800"/>
              </a:spcBef>
              <a:buNone/>
              <a:defRPr sz="2000"/>
            </a:lvl2pPr>
            <a:lvl3pPr marL="914400" indent="0">
              <a:spcBef>
                <a:spcPts val="1800"/>
              </a:spcBef>
              <a:buNone/>
              <a:defRPr sz="2000"/>
            </a:lvl3pPr>
            <a:lvl4pPr marL="1371600" indent="0">
              <a:spcBef>
                <a:spcPts val="1800"/>
              </a:spcBef>
              <a:buNone/>
              <a:defRPr sz="2000"/>
            </a:lvl4pPr>
            <a:lvl5pPr marL="1828800" indent="0">
              <a:spcBef>
                <a:spcPts val="1800"/>
              </a:spcBef>
              <a:buNone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CAAA28-C292-C527-AD35-90836B8BB9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70934" y="584005"/>
            <a:ext cx="7926705" cy="3999060"/>
          </a:xfrm>
        </p:spPr>
        <p:txBody>
          <a:bodyPr lIns="0">
            <a:normAutofit/>
          </a:bodyPr>
          <a:lstStyle>
            <a:lvl1pPr marL="0" indent="0">
              <a:spcBef>
                <a:spcPts val="1800"/>
              </a:spcBef>
              <a:buNone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4329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97D5AF2-684A-4A8D-3D82-B57D7AC44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CF5F650-F8F0-F4FE-44DA-1F14ADE42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8870924-E47D-404F-59B5-BD1C58F7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0806A65-E4FC-2F52-65B3-CC181E62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98408"/>
            <a:ext cx="10972800" cy="157431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CAAA28-C292-C527-AD35-90836B8BB9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5523" y="2676525"/>
            <a:ext cx="5746750" cy="3597470"/>
          </a:xfrm>
        </p:spPr>
        <p:txBody>
          <a:bodyPr lIns="0">
            <a:normAutofit/>
          </a:bodyPr>
          <a:lstStyle>
            <a:lvl1pPr marL="0" indent="0">
              <a:spcBef>
                <a:spcPts val="1800"/>
              </a:spcBef>
              <a:buNone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620000" y="2676525"/>
            <a:ext cx="3947160" cy="3597470"/>
          </a:xfrm>
        </p:spPr>
        <p:txBody>
          <a:bodyPr lIns="0">
            <a:normAutofit/>
          </a:bodyPr>
          <a:lstStyle>
            <a:lvl1pPr marL="342900" indent="-342900">
              <a:spcBef>
                <a:spcPts val="1800"/>
              </a:spcBef>
              <a:buFont typeface="Arial" panose="020B0604020202020204" pitchFamily="34" charset="0"/>
              <a:buChar char="•"/>
              <a:defRPr sz="2000"/>
            </a:lvl1pPr>
            <a:lvl2pPr>
              <a:spcBef>
                <a:spcPts val="18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9744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202400"/>
            <a:ext cx="10972800" cy="157032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9" name="Table Placeholder 2">
            <a:extLst>
              <a:ext uri="{FF2B5EF4-FFF2-40B4-BE49-F238E27FC236}">
                <a16:creationId xmlns:a16="http://schemas.microsoft.com/office/drawing/2014/main" id="{1506B022-475A-6647-98FF-D5C319A0C7C4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94360" y="2628629"/>
            <a:ext cx="10972800" cy="363674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410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4360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flipH="1" flipV="1">
            <a:off x="6092752" y="0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4360" y="454955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8B149C6-5AAC-B8E5-5411-EA38821F67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9273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06C6F65-35CD-D64B-992A-0C1C1E0038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7" name="AutoShape 24">
              <a:extLst>
                <a:ext uri="{FF2B5EF4-FFF2-40B4-BE49-F238E27FC236}">
                  <a16:creationId xmlns:a16="http://schemas.microsoft.com/office/drawing/2014/main" id="{CFD467E2-FF13-7E4F-BEF9-EA1A17665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A85A327-3157-B442-993A-6900F712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A459CB4-74AF-0544-AB1E-7CC6D10F8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5A20BFD-9142-D64A-A78A-61B75FCA0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80736DF-C890-DB47-AEAA-D3D92505E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39F93F26-ED5C-E74E-BFBD-E3054DC1B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89572"/>
            <a:ext cx="6787747" cy="159350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 spc="50" baseline="0"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186153BD-9D2B-47EB-3553-1D3F6663B2A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4359" y="2281918"/>
            <a:ext cx="6787747" cy="3708517"/>
          </a:xfrm>
        </p:spPr>
        <p:txBody>
          <a:bodyPr lIns="0" tIns="228600" rIns="0" bIns="0">
            <a:normAutofit/>
          </a:bodyPr>
          <a:lstStyle>
            <a:lvl1pPr marL="283464" indent="-283464">
              <a:lnSpc>
                <a:spcPct val="80000"/>
              </a:lnSpc>
              <a:spcBef>
                <a:spcPts val="2200"/>
              </a:spcBef>
              <a:buFont typeface="Arial" panose="020B0604020202020204" pitchFamily="34" charset="0"/>
              <a:buChar char="•"/>
              <a:defRPr lang="en-US" sz="2400" b="1" i="0" kern="120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indent="-283464">
              <a:spcBef>
                <a:spcPts val="6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D80CCC8F-9CF1-9621-04EB-DFA68FEE42D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42" name="Date Placeholder 41">
            <a:extLst>
              <a:ext uri="{FF2B5EF4-FFF2-40B4-BE49-F238E27FC236}">
                <a16:creationId xmlns:a16="http://schemas.microsoft.com/office/drawing/2014/main" id="{29CE2856-DB8F-5603-C085-74C70560FAC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79826C1-7A52-DA25-F422-EE62DED7D1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0552" cy="0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089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79D0555-EBDC-B53A-212D-A5921795FE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80543"/>
          </a:xfrm>
          <a:custGeom>
            <a:avLst/>
            <a:gdLst>
              <a:gd name="connsiteX0" fmla="*/ 6309360 w 12192000"/>
              <a:gd name="connsiteY0" fmla="*/ 3951843 h 6880543"/>
              <a:gd name="connsiteX1" fmla="*/ 6309360 w 12192000"/>
              <a:gd name="connsiteY1" fmla="*/ 4052427 h 6880543"/>
              <a:gd name="connsiteX2" fmla="*/ 8442960 w 12192000"/>
              <a:gd name="connsiteY2" fmla="*/ 4052427 h 6880543"/>
              <a:gd name="connsiteX3" fmla="*/ 8442960 w 12192000"/>
              <a:gd name="connsiteY3" fmla="*/ 3951843 h 6880543"/>
              <a:gd name="connsiteX4" fmla="*/ 0 w 12192000"/>
              <a:gd name="connsiteY4" fmla="*/ 0 h 6880543"/>
              <a:gd name="connsiteX5" fmla="*/ 12192000 w 12192000"/>
              <a:gd name="connsiteY5" fmla="*/ 0 h 6880543"/>
              <a:gd name="connsiteX6" fmla="*/ 12192000 w 12192000"/>
              <a:gd name="connsiteY6" fmla="*/ 6880543 h 6880543"/>
              <a:gd name="connsiteX7" fmla="*/ 0 w 12192000"/>
              <a:gd name="connsiteY7" fmla="*/ 6880543 h 6880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80543">
                <a:moveTo>
                  <a:pt x="6309360" y="3951843"/>
                </a:moveTo>
                <a:lnTo>
                  <a:pt x="6309360" y="4052427"/>
                </a:lnTo>
                <a:lnTo>
                  <a:pt x="8442960" y="4052427"/>
                </a:lnTo>
                <a:lnTo>
                  <a:pt x="8442960" y="395184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80543"/>
                </a:lnTo>
                <a:lnTo>
                  <a:pt x="0" y="6880543"/>
                </a:lnTo>
                <a:close/>
              </a:path>
            </a:pathLst>
          </a:custGeom>
        </p:spPr>
        <p:txBody>
          <a:bodyPr wrap="square" tIns="18288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D492973-78E3-D34E-835E-CF2D45170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9359" y="444933"/>
            <a:ext cx="5477479" cy="329184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6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6BA398-1ED2-1FCA-63B9-8915A8C7A5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09360" y="3951843"/>
            <a:ext cx="2133600" cy="1005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169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4">
          <p15:clr>
            <a:srgbClr val="FBAE40"/>
          </p15:clr>
        </p15:guide>
        <p15:guide id="3" pos="4344" userDrawn="1">
          <p15:clr>
            <a:srgbClr val="FBAE40"/>
          </p15:clr>
        </p15:guide>
        <p15:guide id="4" pos="4560" userDrawn="1">
          <p15:clr>
            <a:srgbClr val="FBAE40"/>
          </p15:clr>
        </p15:guide>
        <p15:guide id="8" orient="horz" pos="184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9835" y="43052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9973BC6-F6E5-0B3B-C8AB-0AC4020D4E8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1113"/>
            <a:ext cx="5791200" cy="6880226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9835" y="456860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169ED6-4B82-6844-119F-AC15CDF2D3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7914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7F1500-1A16-D1EF-4F0C-030852B291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2D07A0BE-3890-193E-9439-F294E61A71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C05217ED-C258-E6CE-BA7F-28A6EA41B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20">
              <a:extLst>
                <a:ext uri="{FF2B5EF4-FFF2-40B4-BE49-F238E27FC236}">
                  <a16:creationId xmlns:a16="http://schemas.microsoft.com/office/drawing/2014/main" id="{F3E11A1F-14DD-BA35-D7D7-4D4ADEAA3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F14541B0-973F-7E21-1019-D2FB83C8C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467E05B6-B7CB-1E4F-96BA-4B8CFE8B6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02875"/>
            <a:ext cx="10873740" cy="16802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F6FE0DC0-B0D7-F4D6-8038-177AD7A8C21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57600" y="2282008"/>
            <a:ext cx="7810500" cy="3699328"/>
          </a:xfrm>
        </p:spPr>
        <p:txBody>
          <a:bodyPr lIns="0" tIns="228600" rIns="0" bIns="0">
            <a:normAutofit/>
          </a:bodyPr>
          <a:lstStyle>
            <a:lvl1pPr marL="283464" indent="-283464">
              <a:spcBef>
                <a:spcPts val="1800"/>
              </a:spcBef>
              <a:buFont typeface="Arial" panose="020B0604020202020204" pitchFamily="34" charset="0"/>
              <a:buChar char="•"/>
              <a:defRPr sz="2000"/>
            </a:lvl1pPr>
            <a:lvl2pPr indent="-283464">
              <a:spcBef>
                <a:spcPts val="18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ED58739-4346-5104-B1AC-89ED035912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272B8D-F380-9F1A-C8E6-BDD2352B1763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02964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304">
          <p15:clr>
            <a:srgbClr val="FBAE40"/>
          </p15:clr>
        </p15:guide>
        <p15:guide id="4" pos="5736">
          <p15:clr>
            <a:srgbClr val="FBAE40"/>
          </p15:clr>
        </p15:guide>
        <p15:guide id="5" pos="1944">
          <p15:clr>
            <a:srgbClr val="FBAE40"/>
          </p15:clr>
        </p15:guide>
        <p15:guide id="6" pos="4008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440">
          <p15:clr>
            <a:srgbClr val="FBAE40"/>
          </p15:clr>
        </p15:guide>
        <p15:guide id="9" orient="horz" pos="552">
          <p15:clr>
            <a:srgbClr val="FBAE40"/>
          </p15:clr>
        </p15:guide>
        <p15:guide id="10" pos="5352">
          <p15:clr>
            <a:srgbClr val="FBAE40"/>
          </p15:clr>
        </p15:guide>
        <p15:guide id="11" pos="36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904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69706A2-3726-FE4E-B923-E75D48597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9905" y="454955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27108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97D5AF2-684A-4A8D-3D82-B57D7AC44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CF5F650-F8F0-F4FE-44DA-1F14ADE42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8870924-E47D-404F-59B5-BD1C58F7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0806A65-E4FC-2F52-65B3-CC181E62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278129"/>
            <a:ext cx="9778365" cy="149459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F14DA3C5-63E4-BAFB-1D68-47F71EEEE53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94360" y="2676525"/>
            <a:ext cx="4490827" cy="3597470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9436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BD11386D-847E-8CF5-E56A-42E80A65A08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881898" y="2676525"/>
            <a:ext cx="4490827" cy="3597470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4864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1056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2E558A9-6DD6-E21D-3A8F-6707E1DD19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12" name="AutoShape 24">
              <a:extLst>
                <a:ext uri="{FF2B5EF4-FFF2-40B4-BE49-F238E27FC236}">
                  <a16:creationId xmlns:a16="http://schemas.microsoft.com/office/drawing/2014/main" id="{3FC994E4-318C-1E66-B4E4-8F8FD08E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17C00E6B-F625-6D6C-8364-9DD9F3C36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C6197B87-4F65-7981-9463-84830CD36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6AA517C-7217-D864-B7E7-40984A288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24013C6-491C-CAA2-5BD6-7C7359671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8885" y="3499667"/>
            <a:ext cx="4939666" cy="254281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47460" y="6313170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885" y="457201"/>
            <a:ext cx="5198269" cy="2305050"/>
          </a:xfrm>
        </p:spPr>
        <p:txBody>
          <a:bodyPr lIns="0" tIns="274320">
            <a:normAutofit/>
          </a:bodyPr>
          <a:lstStyle>
            <a:lvl1pPr marL="457200" indent="-457200">
              <a:spcBef>
                <a:spcPts val="1800"/>
              </a:spcBef>
              <a:buFont typeface="+mj-lt"/>
              <a:buAutoNum type="arabicPeriod"/>
              <a:defRPr sz="2000"/>
            </a:lvl1pPr>
            <a:lvl2pPr marL="914400" indent="-457200">
              <a:spcBef>
                <a:spcPts val="1800"/>
              </a:spcBef>
              <a:buFont typeface="+mj-lt"/>
              <a:buAutoNum type="alphaLcPeriod"/>
              <a:defRPr sz="2000"/>
            </a:lvl2pPr>
            <a:lvl3pPr marL="1371600" indent="-457200">
              <a:spcBef>
                <a:spcPts val="1800"/>
              </a:spcBef>
              <a:buFont typeface="+mj-lt"/>
              <a:buAutoNum type="arabicParenR"/>
              <a:defRPr sz="2000"/>
            </a:lvl3pPr>
            <a:lvl4pPr marL="1371600" indent="0">
              <a:spcBef>
                <a:spcPts val="1800"/>
              </a:spcBef>
              <a:buFont typeface="+mj-lt"/>
              <a:buNone/>
              <a:defRPr sz="2000"/>
            </a:lvl4pPr>
            <a:lvl5pPr marL="2286000" indent="-457200">
              <a:spcBef>
                <a:spcPts val="1800"/>
              </a:spcBef>
              <a:buFont typeface="+mj-lt"/>
              <a:buAutoNum type="arabicPeriod"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3AC171DA-232D-44C1-6B93-40BACB298F4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94360" y="2810595"/>
            <a:ext cx="5198269" cy="3319513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4864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4606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310" y="278129"/>
            <a:ext cx="5063490" cy="235402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1EF4505D-6803-3813-7738-04996342781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94360" y="3279579"/>
            <a:ext cx="5044440" cy="2994415"/>
          </a:xfrm>
        </p:spPr>
        <p:txBody>
          <a:bodyPr lIns="0" tIns="22860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indent="-283464">
              <a:spcBef>
                <a:spcPts val="18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66081BA-9135-73B1-DCE5-77FD12431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997459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658637A-5D36-6127-19BC-C203E23FA4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118225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9319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DD5212D-636B-CD50-092B-CEA16438C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55845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6" progId="TCLayout.ActiveDocument.1">
                  <p:embed/>
                </p:oleObj>
              </mc:Choice>
              <mc:Fallback>
                <p:oleObj name="think-cell Slide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ED84C6-50E6-6C43-8031-AFF6268E0C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360" y="1825625"/>
            <a:ext cx="103822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D41FC0AE-253D-D242-9C88-017078F8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365125"/>
            <a:ext cx="104013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EF47083A-6D76-4B4D-87CA-E08E212F78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3648" y="6332220"/>
            <a:ext cx="131318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C8ADA0DF-3751-9A48-8A21-59F01C782D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4360" y="6332220"/>
            <a:ext cx="52324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1" i="0">
                <a:solidFill>
                  <a:schemeClr val="bg1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922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698" r:id="rId2"/>
    <p:sldLayoutId id="2147483710" r:id="rId3"/>
    <p:sldLayoutId id="2147483700" r:id="rId4"/>
    <p:sldLayoutId id="2147483701" r:id="rId5"/>
    <p:sldLayoutId id="2147483659" r:id="rId6"/>
    <p:sldLayoutId id="2147483709" r:id="rId7"/>
    <p:sldLayoutId id="2147483708" r:id="rId8"/>
    <p:sldLayoutId id="2147483707" r:id="rId9"/>
    <p:sldLayoutId id="2147483706" r:id="rId10"/>
    <p:sldLayoutId id="2147483705" r:id="rId11"/>
    <p:sldLayoutId id="2147483704" r:id="rId12"/>
    <p:sldLayoutId id="2147483703" r:id="rId13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i="0" kern="1200" spc="100" baseline="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83464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40">
          <p15:clr>
            <a:srgbClr val="547EBF"/>
          </p15:clr>
        </p15:guide>
        <p15:guide id="4" orient="horz" pos="240">
          <p15:clr>
            <a:srgbClr val="547EBF"/>
          </p15:clr>
        </p15:guide>
        <p15:guide id="5" pos="7440">
          <p15:clr>
            <a:srgbClr val="547EBF"/>
          </p15:clr>
        </p15:guide>
        <p15:guide id="6" orient="horz" pos="4080">
          <p15:clr>
            <a:srgbClr val="547EBF"/>
          </p15:clr>
        </p15:guide>
        <p15:guide id="7" pos="600" userDrawn="1">
          <p15:clr>
            <a:srgbClr val="547EBF"/>
          </p15:clr>
        </p15:guide>
        <p15:guide id="8" pos="3720">
          <p15:clr>
            <a:srgbClr val="547EBF"/>
          </p15:clr>
        </p15:guide>
        <p15:guide id="9" pos="2112">
          <p15:clr>
            <a:srgbClr val="547EBF"/>
          </p15:clr>
        </p15:guide>
        <p15:guide id="10" pos="1848">
          <p15:clr>
            <a:srgbClr val="547EBF"/>
          </p15:clr>
        </p15:guide>
        <p15:guide id="11" pos="5568">
          <p15:clr>
            <a:srgbClr val="547EBF"/>
          </p15:clr>
        </p15:guide>
        <p15:guide id="12" pos="5832">
          <p15:clr>
            <a:srgbClr val="547EBF"/>
          </p15:clr>
        </p15:guide>
        <p15:guide id="13" pos="4968">
          <p15:clr>
            <a:srgbClr val="9FCC3B"/>
          </p15:clr>
        </p15:guide>
        <p15:guide id="14" pos="5208">
          <p15:clr>
            <a:srgbClr val="9FCC3B"/>
          </p15:clr>
        </p15:guide>
        <p15:guide id="15" pos="2712">
          <p15:clr>
            <a:srgbClr val="9FCC3B"/>
          </p15:clr>
        </p15:guide>
        <p15:guide id="16" pos="2472">
          <p15:clr>
            <a:srgbClr val="9FCC3B"/>
          </p15:clr>
        </p15:guide>
        <p15:guide id="17" pos="39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16.emf"/><Relationship Id="rId5" Type="http://schemas.openxmlformats.org/officeDocument/2006/relationships/oleObject" Target="file:///D:\A-Marian\DEPI\Project\Project%20Steps\Sameh\Version%202\Finalll\Delivered\Final%20Supermarket%20chain%20..V4.pptx" TargetMode="Externa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DA3766-09B7-2750-6166-640745D72C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20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B1D9D6-2977-ABCD-FDF8-51AFA5064E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09904" y="411479"/>
            <a:ext cx="5486400" cy="3291840"/>
          </a:xfrm>
        </p:spPr>
        <p:txBody>
          <a:bodyPr vert="horz"/>
          <a:lstStyle/>
          <a:p>
            <a:r>
              <a:rPr lang="en-US" dirty="0"/>
              <a:t>Project </a:t>
            </a:r>
            <a:br>
              <a:rPr lang="en-US" dirty="0"/>
            </a:br>
            <a:r>
              <a:rPr lang="en-US" dirty="0"/>
              <a:t>Documentation </a:t>
            </a:r>
          </a:p>
        </p:txBody>
      </p:sp>
    </p:spTree>
    <p:extLst>
      <p:ext uri="{BB962C8B-B14F-4D97-AF65-F5344CB8AC3E}">
        <p14:creationId xmlns:p14="http://schemas.microsoft.com/office/powerpoint/2010/main" val="3390304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F52D570-3788-D59A-4BC3-A03C621A9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9671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94C557-CBD6-10C7-0FB3-92A3FD4484D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6C0C021-5844-30B6-9AC7-CD499E79E6A4}"/>
              </a:ext>
            </a:extLst>
          </p:cNvPr>
          <p:cNvSpPr txBox="1">
            <a:spLocks/>
          </p:cNvSpPr>
          <p:nvPr/>
        </p:nvSpPr>
        <p:spPr>
          <a:xfrm>
            <a:off x="746760" y="255275"/>
            <a:ext cx="10873740" cy="151885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spc="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Dashboar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22086B-1648-1F9B-71A7-A9690B9F7A1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568" t="18511" r="25947" b="12783"/>
          <a:stretch/>
        </p:blipFill>
        <p:spPr>
          <a:xfrm>
            <a:off x="3110143" y="1774134"/>
            <a:ext cx="8599503" cy="47150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CC1F25C-4464-B778-45E4-C26E6B5170A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3592" t="12783" r="27403" b="34887"/>
          <a:stretch/>
        </p:blipFill>
        <p:spPr>
          <a:xfrm>
            <a:off x="5477522" y="2062544"/>
            <a:ext cx="4634144" cy="2783590"/>
          </a:xfrm>
          <a:prstGeom prst="rect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DFE2E285-3F43-4180-F9CD-10F6BDA6AA33}"/>
              </a:ext>
            </a:extLst>
          </p:cNvPr>
          <p:cNvCxnSpPr>
            <a:cxnSpLocks/>
            <a:stCxn id="13" idx="2"/>
          </p:cNvCxnSpPr>
          <p:nvPr/>
        </p:nvCxnSpPr>
        <p:spPr>
          <a:xfrm rot="16200000" flipH="1">
            <a:off x="7014755" y="967548"/>
            <a:ext cx="1432430" cy="64215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F66951C-D52A-8E3B-73C7-1D6112B2DF70}"/>
              </a:ext>
            </a:extLst>
          </p:cNvPr>
          <p:cNvSpPr txBox="1"/>
          <p:nvPr/>
        </p:nvSpPr>
        <p:spPr>
          <a:xfrm>
            <a:off x="6842728" y="233855"/>
            <a:ext cx="1134332" cy="338554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5">
                    <a:lumMod val="75000"/>
                  </a:schemeClr>
                </a:solidFill>
              </a:rPr>
              <a:t>ToolTi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FB331C1-D1AC-7C17-3E46-012576E8489A}"/>
              </a:ext>
            </a:extLst>
          </p:cNvPr>
          <p:cNvSpPr txBox="1"/>
          <p:nvPr/>
        </p:nvSpPr>
        <p:spPr>
          <a:xfrm>
            <a:off x="7457242" y="593829"/>
            <a:ext cx="3719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Elaborating Store Info Total , Average , MOM% of sales , profit Revenue , Cost …</a:t>
            </a:r>
            <a:r>
              <a:rPr lang="en-US" sz="1400" dirty="0" err="1">
                <a:solidFill>
                  <a:schemeClr val="bg1"/>
                </a:solidFill>
              </a:rPr>
              <a:t>Etc</a:t>
            </a:r>
            <a:r>
              <a:rPr lang="en-US" sz="14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A0A7C88-39F5-3E18-824D-FF752C282E22}"/>
              </a:ext>
            </a:extLst>
          </p:cNvPr>
          <p:cNvSpPr txBox="1"/>
          <p:nvPr/>
        </p:nvSpPr>
        <p:spPr>
          <a:xfrm>
            <a:off x="1209779" y="2216787"/>
            <a:ext cx="1433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ToolTip</a:t>
            </a:r>
          </a:p>
        </p:txBody>
      </p:sp>
    </p:spTree>
    <p:extLst>
      <p:ext uri="{BB962C8B-B14F-4D97-AF65-F5344CB8AC3E}">
        <p14:creationId xmlns:p14="http://schemas.microsoft.com/office/powerpoint/2010/main" val="2930837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F6F69E6-768A-D2B9-4BEF-F657A8BA7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780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9EBC83-DC04-7BA2-8B4A-DC9F8FA2D85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9A9600F-7E22-4DA5-F925-C4C5951BE408}"/>
              </a:ext>
            </a:extLst>
          </p:cNvPr>
          <p:cNvSpPr txBox="1">
            <a:spLocks/>
          </p:cNvSpPr>
          <p:nvPr/>
        </p:nvSpPr>
        <p:spPr>
          <a:xfrm>
            <a:off x="746760" y="255275"/>
            <a:ext cx="10873740" cy="151885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spc="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Dashboar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0406D7-84B4-B08A-0CE3-EF1021FDF8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883" t="18253" r="21723" b="11716"/>
          <a:stretch/>
        </p:blipFill>
        <p:spPr>
          <a:xfrm>
            <a:off x="2787590" y="2055180"/>
            <a:ext cx="8460419" cy="48028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7452215-A119-5050-1D88-B48E592C0386}"/>
              </a:ext>
            </a:extLst>
          </p:cNvPr>
          <p:cNvSpPr txBox="1"/>
          <p:nvPr/>
        </p:nvSpPr>
        <p:spPr>
          <a:xfrm>
            <a:off x="527253" y="2533563"/>
            <a:ext cx="19065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High Level Insight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CF52C-6A9C-290D-1515-70AE0C8BB30B}"/>
              </a:ext>
            </a:extLst>
          </p:cNvPr>
          <p:cNvSpPr txBox="1"/>
          <p:nvPr/>
        </p:nvSpPr>
        <p:spPr>
          <a:xfrm>
            <a:off x="564126" y="2199032"/>
            <a:ext cx="26255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At a glance View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63BBBC2-4C24-8B29-1038-71AA236B3F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81855" y="1774134"/>
            <a:ext cx="3324320" cy="1518859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2C55FB37-1980-95E9-06F0-85BB483FFE07}"/>
              </a:ext>
            </a:extLst>
          </p:cNvPr>
          <p:cNvSpPr/>
          <p:nvPr/>
        </p:nvSpPr>
        <p:spPr>
          <a:xfrm>
            <a:off x="9184502" y="2583353"/>
            <a:ext cx="813233" cy="770416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02E07FE-B75F-A7E8-7BD7-6EF442FA18C1}"/>
              </a:ext>
            </a:extLst>
          </p:cNvPr>
          <p:cNvSpPr/>
          <p:nvPr/>
        </p:nvSpPr>
        <p:spPr>
          <a:xfrm>
            <a:off x="11378767" y="2583353"/>
            <a:ext cx="813233" cy="770416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85E31612-960B-C8BE-1449-C4DB2E262050}"/>
              </a:ext>
            </a:extLst>
          </p:cNvPr>
          <p:cNvCxnSpPr>
            <a:cxnSpLocks/>
            <a:stCxn id="17" idx="2"/>
          </p:cNvCxnSpPr>
          <p:nvPr/>
        </p:nvCxnSpPr>
        <p:spPr>
          <a:xfrm rot="16200000" flipH="1">
            <a:off x="8468287" y="1587011"/>
            <a:ext cx="1432430" cy="642152"/>
          </a:xfrm>
          <a:prstGeom prst="bentConnector3">
            <a:avLst>
              <a:gd name="adj1" fmla="val 56198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8D19B27-48B9-12C5-BF51-02D1D811126D}"/>
              </a:ext>
            </a:extLst>
          </p:cNvPr>
          <p:cNvSpPr txBox="1"/>
          <p:nvPr/>
        </p:nvSpPr>
        <p:spPr>
          <a:xfrm>
            <a:off x="8296260" y="853318"/>
            <a:ext cx="1134332" cy="338554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5">
                    <a:lumMod val="75000"/>
                  </a:schemeClr>
                </a:solidFill>
              </a:rPr>
              <a:t>MOM %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77AE459B-3CB2-5A4B-B980-70A28321E544}"/>
              </a:ext>
            </a:extLst>
          </p:cNvPr>
          <p:cNvCxnSpPr>
            <a:cxnSpLocks/>
            <a:stCxn id="20" idx="2"/>
          </p:cNvCxnSpPr>
          <p:nvPr/>
        </p:nvCxnSpPr>
        <p:spPr>
          <a:xfrm rot="16200000" flipH="1">
            <a:off x="10801045" y="1605828"/>
            <a:ext cx="1463198" cy="475146"/>
          </a:xfrm>
          <a:prstGeom prst="bentConnector3">
            <a:avLst>
              <a:gd name="adj1" fmla="val 34225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452EB2F5-4DF1-9EDE-2F93-16FAFFF171F7}"/>
              </a:ext>
            </a:extLst>
          </p:cNvPr>
          <p:cNvSpPr txBox="1"/>
          <p:nvPr/>
        </p:nvSpPr>
        <p:spPr>
          <a:xfrm>
            <a:off x="10560899" y="804025"/>
            <a:ext cx="1468344" cy="307777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Last Month total</a:t>
            </a:r>
          </a:p>
        </p:txBody>
      </p:sp>
    </p:spTree>
    <p:extLst>
      <p:ext uri="{BB962C8B-B14F-4D97-AF65-F5344CB8AC3E}">
        <p14:creationId xmlns:p14="http://schemas.microsoft.com/office/powerpoint/2010/main" val="41503649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28BDC1-EB90-BB82-B04B-2AF305A553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103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D08DB9-85BA-0795-7345-9BFF19605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shboar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26534D-78B4-73F3-4DC0-26DA424E07C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739" t="18874" r="22160" b="12621"/>
          <a:stretch/>
        </p:blipFill>
        <p:spPr>
          <a:xfrm>
            <a:off x="5349634" y="1873189"/>
            <a:ext cx="6633902" cy="3699328"/>
          </a:xfrm>
          <a:prstGeom prst="rect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D464C99-8B00-A17B-C229-E27B3928DF2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375" t="18641" r="22014" b="12783"/>
          <a:stretch/>
        </p:blipFill>
        <p:spPr>
          <a:xfrm>
            <a:off x="2255044" y="2823098"/>
            <a:ext cx="6675891" cy="3699328"/>
          </a:xfrm>
          <a:prstGeom prst="rect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A7AE504-8DC6-D766-49E1-ED56934D6B4C}"/>
              </a:ext>
            </a:extLst>
          </p:cNvPr>
          <p:cNvSpPr txBox="1"/>
          <p:nvPr/>
        </p:nvSpPr>
        <p:spPr>
          <a:xfrm>
            <a:off x="564126" y="2199032"/>
            <a:ext cx="26255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Drill Through Pag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7A3535-8C15-1A75-4DFD-38D8ACF8C4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8445" y="507214"/>
            <a:ext cx="2261276" cy="1005012"/>
          </a:xfrm>
          <a:prstGeom prst="rect">
            <a:avLst/>
          </a:prstGeom>
          <a:ln w="28575">
            <a:solidFill>
              <a:schemeClr val="accent5">
                <a:lumMod val="75000"/>
              </a:schemeClr>
            </a:solidFill>
          </a:ln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D4B391C-C5B6-B1A7-58EE-FA4233CCE96C}"/>
              </a:ext>
            </a:extLst>
          </p:cNvPr>
          <p:cNvCxnSpPr>
            <a:cxnSpLocks/>
          </p:cNvCxnSpPr>
          <p:nvPr/>
        </p:nvCxnSpPr>
        <p:spPr>
          <a:xfrm rot="5400000">
            <a:off x="3283357" y="1386642"/>
            <a:ext cx="2200995" cy="837931"/>
          </a:xfrm>
          <a:prstGeom prst="bentConnector3">
            <a:avLst>
              <a:gd name="adj1" fmla="val 6842"/>
            </a:avLst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718588E-B8E2-D7B9-57B4-B1FBD46C82A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397453" y="1471371"/>
            <a:ext cx="786451" cy="65842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FC9FD3A-8576-CDFB-D5E0-4FB1F4F863C5}"/>
              </a:ext>
            </a:extLst>
          </p:cNvPr>
          <p:cNvSpPr txBox="1"/>
          <p:nvPr/>
        </p:nvSpPr>
        <p:spPr>
          <a:xfrm>
            <a:off x="603315" y="2523162"/>
            <a:ext cx="2752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-Depth details regarding Country &amp; product</a:t>
            </a:r>
          </a:p>
        </p:txBody>
      </p:sp>
    </p:spTree>
    <p:extLst>
      <p:ext uri="{BB962C8B-B14F-4D97-AF65-F5344CB8AC3E}">
        <p14:creationId xmlns:p14="http://schemas.microsoft.com/office/powerpoint/2010/main" val="36728856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28BDC1-EB90-BB82-B04B-2AF305A553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270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28BDC1-EB90-BB82-B04B-2AF305A553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FA29B9E-A799-36AD-FA55-BA567F90DF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83933" y="2950361"/>
            <a:ext cx="8791575" cy="34004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BD08DB9-85BA-0795-7345-9BFF19605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shboar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A7AE504-8DC6-D766-49E1-ED56934D6B4C}"/>
              </a:ext>
            </a:extLst>
          </p:cNvPr>
          <p:cNvSpPr txBox="1"/>
          <p:nvPr/>
        </p:nvSpPr>
        <p:spPr>
          <a:xfrm>
            <a:off x="564126" y="2199032"/>
            <a:ext cx="26255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Drill Through Pages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D4B391C-C5B6-B1A7-58EE-FA4233CCE96C}"/>
              </a:ext>
            </a:extLst>
          </p:cNvPr>
          <p:cNvCxnSpPr>
            <a:cxnSpLocks/>
          </p:cNvCxnSpPr>
          <p:nvPr/>
        </p:nvCxnSpPr>
        <p:spPr>
          <a:xfrm rot="5400000">
            <a:off x="6068356" y="3434528"/>
            <a:ext cx="2637604" cy="81487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1718588E-B8E2-D7B9-57B4-B1FBD46C82A0}"/>
              </a:ext>
            </a:extLst>
          </p:cNvPr>
          <p:cNvCxnSpPr>
            <a:cxnSpLocks/>
          </p:cNvCxnSpPr>
          <p:nvPr/>
        </p:nvCxnSpPr>
        <p:spPr>
          <a:xfrm rot="16200000" flipH="1">
            <a:off x="9579568" y="2800824"/>
            <a:ext cx="786451" cy="65842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FC9FD3A-8576-CDFB-D5E0-4FB1F4F863C5}"/>
              </a:ext>
            </a:extLst>
          </p:cNvPr>
          <p:cNvSpPr txBox="1"/>
          <p:nvPr/>
        </p:nvSpPr>
        <p:spPr>
          <a:xfrm>
            <a:off x="603315" y="2523162"/>
            <a:ext cx="2752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In-Depth details regarding Country &amp; produ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582E88-884A-2714-DBA9-AB1D8BCAD351}"/>
              </a:ext>
            </a:extLst>
          </p:cNvPr>
          <p:cNvSpPr txBox="1"/>
          <p:nvPr/>
        </p:nvSpPr>
        <p:spPr>
          <a:xfrm>
            <a:off x="6641610" y="2236143"/>
            <a:ext cx="2752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By Selecting Count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C5DF9A-246E-4393-EA85-CCA0061FD7E5}"/>
              </a:ext>
            </a:extLst>
          </p:cNvPr>
          <p:cNvSpPr txBox="1"/>
          <p:nvPr/>
        </p:nvSpPr>
        <p:spPr>
          <a:xfrm>
            <a:off x="9013428" y="2282310"/>
            <a:ext cx="2752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Button color change , then click it to be directed to Country pag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F85034-0697-9799-A572-93E6637E9DF0}"/>
              </a:ext>
            </a:extLst>
          </p:cNvPr>
          <p:cNvSpPr txBox="1"/>
          <p:nvPr/>
        </p:nvSpPr>
        <p:spPr>
          <a:xfrm>
            <a:off x="248574" y="3308446"/>
            <a:ext cx="246543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ame for Product by selecting Product Button color change , then click it to be directed to Product page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139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776379C-D71A-265D-AC59-97FF3A470E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98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6D5024-7F9C-3D89-EB0F-3AEEE53DE2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shboar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537CEC-1BC1-BD52-5D2C-4993AEBF5A11}"/>
              </a:ext>
            </a:extLst>
          </p:cNvPr>
          <p:cNvSpPr txBox="1"/>
          <p:nvPr/>
        </p:nvSpPr>
        <p:spPr>
          <a:xfrm>
            <a:off x="441663" y="2270009"/>
            <a:ext cx="26921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ofit decomposition tre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59E774-C745-D33F-5BEE-AA8213E8AA3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296" t="18511" r="26675" b="14175"/>
          <a:stretch/>
        </p:blipFill>
        <p:spPr>
          <a:xfrm>
            <a:off x="3334306" y="2015230"/>
            <a:ext cx="8416031" cy="4616389"/>
          </a:xfrm>
          <a:prstGeom prst="rect">
            <a:avLst/>
          </a:prstGeom>
          <a:ln w="28575">
            <a:solidFill>
              <a:schemeClr val="accent5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7963716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952F55-47F5-BFE1-7105-52682082E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847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952F55-47F5-BFE1-7105-52682082E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FE9616-F972-116B-2276-28295F97261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9730" y="2282008"/>
            <a:ext cx="10668370" cy="603235"/>
          </a:xfrm>
        </p:spPr>
        <p:txBody>
          <a:bodyPr/>
          <a:lstStyle/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 Part elaborated explicitly on the main presentation</a:t>
            </a: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3F059A9-7A63-70D6-C755-F97B915BFA98}"/>
              </a:ext>
            </a:extLst>
          </p:cNvPr>
          <p:cNvSpPr txBox="1">
            <a:spLocks/>
          </p:cNvSpPr>
          <p:nvPr/>
        </p:nvSpPr>
        <p:spPr>
          <a:xfrm>
            <a:off x="652879" y="740337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spc="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Analysis &amp; Visualization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D7499488-2D25-67F6-B822-B09452176A19}"/>
              </a:ext>
            </a:extLst>
          </p:cNvPr>
          <p:cNvSpPr/>
          <p:nvPr/>
        </p:nvSpPr>
        <p:spPr>
          <a:xfrm rot="5400000">
            <a:off x="6109759" y="3517481"/>
            <a:ext cx="883924" cy="994299"/>
          </a:xfrm>
          <a:prstGeom prst="right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D6571DF-2DF5-DABD-4F75-E78971022F85}"/>
              </a:ext>
            </a:extLst>
          </p:cNvPr>
          <p:cNvSpPr txBox="1">
            <a:spLocks/>
          </p:cNvSpPr>
          <p:nvPr/>
        </p:nvSpPr>
        <p:spPr>
          <a:xfrm>
            <a:off x="3871774" y="2950366"/>
            <a:ext cx="5359893" cy="603235"/>
          </a:xfrm>
          <a:prstGeom prst="rect">
            <a:avLst/>
          </a:prstGeom>
        </p:spPr>
        <p:txBody>
          <a:bodyPr vert="horz" lIns="0" tIns="228600" rIns="0" bIns="0" rtlCol="0">
            <a:normAutofit fontScale="85000" lnSpcReduction="10000"/>
          </a:bodyPr>
          <a:lstStyle>
            <a:lvl1pPr marL="283464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gh Level Analysis &amp; insights (using Excel &amp;Power point) </a:t>
            </a:r>
            <a:endParaRPr lang="en-US" dirty="0"/>
          </a:p>
        </p:txBody>
      </p:sp>
      <p:graphicFrame>
        <p:nvGraphicFramePr>
          <p:cNvPr id="7" name="Object 6">
            <a:hlinkClick r:id="" action="ppaction://ole?verb=0"/>
            <a:extLst>
              <a:ext uri="{FF2B5EF4-FFF2-40B4-BE49-F238E27FC236}">
                <a16:creationId xmlns:a16="http://schemas.microsoft.com/office/drawing/2014/main" id="{9064027C-FFA1-E225-906E-F33FF72808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4349845"/>
              </p:ext>
            </p:extLst>
          </p:nvPr>
        </p:nvGraphicFramePr>
        <p:xfrm>
          <a:off x="5282213" y="4652473"/>
          <a:ext cx="2934070" cy="16514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esentation" r:id="rId5" imgW="4572042" imgH="2572643" progId="PowerPoint.Show.12">
                  <p:link updateAutomatic="1"/>
                </p:oleObj>
              </mc:Choice>
              <mc:Fallback>
                <p:oleObj name="Presentation" r:id="rId5" imgW="4572042" imgH="2572643" progId="PowerPoint.Show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82213" y="4652473"/>
                        <a:ext cx="2934070" cy="1651433"/>
                      </a:xfrm>
                      <a:prstGeom prst="rect">
                        <a:avLst/>
                      </a:prstGeom>
                      <a:ln>
                        <a:solidFill>
                          <a:schemeClr val="accent5">
                            <a:lumMod val="75000"/>
                          </a:schemeClr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34EC8B45-37F1-C12B-B349-8566850EA110}"/>
              </a:ext>
            </a:extLst>
          </p:cNvPr>
          <p:cNvSpPr txBox="1">
            <a:spLocks/>
          </p:cNvSpPr>
          <p:nvPr/>
        </p:nvSpPr>
        <p:spPr>
          <a:xfrm>
            <a:off x="5824490" y="4513373"/>
            <a:ext cx="1849515" cy="529144"/>
          </a:xfrm>
          <a:prstGeom prst="rect">
            <a:avLst/>
          </a:prstGeom>
        </p:spPr>
        <p:txBody>
          <a:bodyPr vert="horz" lIns="0" tIns="228600" rIns="0" bIns="0" rtlCol="0">
            <a:normAutofit fontScale="92500"/>
          </a:bodyPr>
          <a:lstStyle>
            <a:lvl1pPr marL="283464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Double click here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1955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0C1B7-6E4E-3DEE-50C0-1CA3B14303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4360" y="411479"/>
            <a:ext cx="5486400" cy="3291840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61132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5380E4-FFA1-5771-B048-35DC70178D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281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30BF65-C84B-45C3-72CA-AFDA68851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89572"/>
            <a:ext cx="6787747" cy="1593507"/>
          </a:xfrm>
        </p:spPr>
        <p:txBody>
          <a:bodyPr vert="horz"/>
          <a:lstStyle/>
          <a:p>
            <a:r>
              <a:rPr lang="en-US" dirty="0"/>
              <a:t>Cont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8EBC2C-6DD7-5003-38EB-40753046FE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3725" y="2281238"/>
            <a:ext cx="6788150" cy="3709987"/>
          </a:xfrm>
        </p:spPr>
        <p:txBody>
          <a:bodyPr tIns="457200"/>
          <a:lstStyle/>
          <a:p>
            <a:r>
              <a:rPr lang="en-US" dirty="0"/>
              <a:t>Ask Question</a:t>
            </a:r>
          </a:p>
          <a:p>
            <a:r>
              <a:rPr lang="en-US" dirty="0"/>
              <a:t>Collection &amp; Exploring</a:t>
            </a:r>
          </a:p>
          <a:p>
            <a:r>
              <a:rPr lang="en-US" dirty="0"/>
              <a:t>Engaging the audience</a:t>
            </a:r>
          </a:p>
          <a:p>
            <a:r>
              <a:rPr lang="en-US" dirty="0"/>
              <a:t>Visual aids</a:t>
            </a:r>
          </a:p>
          <a:p>
            <a:r>
              <a:rPr lang="en-US" dirty="0"/>
              <a:t>Final tips &amp; takeaways</a:t>
            </a:r>
          </a:p>
        </p:txBody>
      </p:sp>
    </p:spTree>
    <p:extLst>
      <p:ext uri="{BB962C8B-B14F-4D97-AF65-F5344CB8AC3E}">
        <p14:creationId xmlns:p14="http://schemas.microsoft.com/office/powerpoint/2010/main" val="33466857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hink-cell data - do not delete" hidden="1">
            <a:extLst>
              <a:ext uri="{FF2B5EF4-FFF2-40B4-BE49-F238E27FC236}">
                <a16:creationId xmlns:a16="http://schemas.microsoft.com/office/drawing/2014/main" id="{F67AF544-04BA-12C8-4615-DB4428212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898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270;p54">
            <a:extLst>
              <a:ext uri="{FF2B5EF4-FFF2-40B4-BE49-F238E27FC236}">
                <a16:creationId xmlns:a16="http://schemas.microsoft.com/office/drawing/2014/main" id="{F2F0403A-36D3-BDF9-0F01-C575966403D7}"/>
              </a:ext>
            </a:extLst>
          </p:cNvPr>
          <p:cNvSpPr txBox="1">
            <a:spLocks/>
          </p:cNvSpPr>
          <p:nvPr/>
        </p:nvSpPr>
        <p:spPr>
          <a:xfrm>
            <a:off x="458575" y="1305459"/>
            <a:ext cx="6000615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spc="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spcBef>
                <a:spcPts val="0"/>
              </a:spcBef>
            </a:pPr>
            <a:r>
              <a:rPr lang="en-US" dirty="0"/>
              <a:t>Analysis Procedure</a:t>
            </a:r>
          </a:p>
        </p:txBody>
      </p:sp>
      <p:pic>
        <p:nvPicPr>
          <p:cNvPr id="3" name="Picture 2" descr="A diagram of data processing&#10;&#10;Description automatically generated">
            <a:extLst>
              <a:ext uri="{FF2B5EF4-FFF2-40B4-BE49-F238E27FC236}">
                <a16:creationId xmlns:a16="http://schemas.microsoft.com/office/drawing/2014/main" id="{D27CF0DE-E261-16BC-91C5-D170FB21E300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565" y="2554217"/>
            <a:ext cx="10054130" cy="416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71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054CA8-E315-5783-ADF5-67871D60F0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784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54CA8-E315-5783-ADF5-67871D60F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45D3755-C3E2-975E-DE68-CDECC4B52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02875"/>
            <a:ext cx="10873740" cy="1680205"/>
          </a:xfrm>
        </p:spPr>
        <p:txBody>
          <a:bodyPr vert="horz"/>
          <a:lstStyle/>
          <a:p>
            <a:r>
              <a:rPr lang="en-US" dirty="0"/>
              <a:t>Ask Ques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0BD87D-F7DA-961B-4024-A354DC87D16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27464" y="2281238"/>
            <a:ext cx="10340636" cy="3700462"/>
          </a:xfrm>
        </p:spPr>
        <p:txBody>
          <a:bodyPr>
            <a:normAutofit/>
          </a:bodyPr>
          <a:lstStyle/>
          <a:p>
            <a:r>
              <a:rPr lang="en-US" b="1" dirty="0"/>
              <a:t>Targeted Audience :  </a:t>
            </a:r>
            <a:r>
              <a:rPr lang="en-US" dirty="0"/>
              <a:t>Middle management </a:t>
            </a:r>
          </a:p>
          <a:p>
            <a:r>
              <a:rPr lang="en-US" b="1" dirty="0"/>
              <a:t>Stakeholder Needs : </a:t>
            </a:r>
          </a:p>
          <a:p>
            <a:pPr>
              <a:buFontTx/>
              <a:buChar char="-"/>
            </a:pPr>
            <a:r>
              <a:rPr lang="en-US" dirty="0"/>
              <a:t>Sales , Profit and Cost across all chain’s Store , Products , Category .</a:t>
            </a:r>
          </a:p>
          <a:p>
            <a:r>
              <a:rPr lang="en-US" b="1" dirty="0"/>
              <a:t>Business Nature</a:t>
            </a:r>
            <a:r>
              <a:rPr lang="en-US" dirty="0"/>
              <a:t>: Super Market chain with 100 Stores overall 10 Country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8CEA4F-D72A-C069-6A51-328B103CA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E473402-19FD-A5B0-5CB6-E5F3926D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9D1CAD-2EA2-9376-7B64-0C3AC590F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16F8906-918C-BE0B-A4AB-6A1D4815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16490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054CA8-E315-5783-ADF5-67871D60F0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26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54CA8-E315-5783-ADF5-67871D60F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45D3755-C3E2-975E-DE68-CDECC4B52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102875"/>
            <a:ext cx="10873740" cy="1680205"/>
          </a:xfrm>
        </p:spPr>
        <p:txBody>
          <a:bodyPr vert="horz"/>
          <a:lstStyle/>
          <a:p>
            <a:r>
              <a:rPr lang="en-US" dirty="0"/>
              <a:t>Collection &amp; Explor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0BD87D-F7DA-961B-4024-A354DC87D16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8354" y="2281237"/>
            <a:ext cx="10499746" cy="360949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By Exploring Data we found the following : </a:t>
            </a:r>
          </a:p>
          <a:p>
            <a:pPr marL="0" indent="0">
              <a:buNone/>
            </a:pPr>
            <a:r>
              <a:rPr lang="en-US" sz="2000" b="1" dirty="0"/>
              <a:t>Missing Data :  </a:t>
            </a:r>
            <a:r>
              <a:rPr lang="en-US" sz="2000" dirty="0"/>
              <a:t>Only had record for one day of May </a:t>
            </a:r>
          </a:p>
          <a:p>
            <a:pPr marL="0" indent="0">
              <a:buNone/>
            </a:pPr>
            <a:r>
              <a:rPr lang="en-US" sz="2000" b="1" dirty="0"/>
              <a:t>Blank Data : </a:t>
            </a:r>
            <a:r>
              <a:rPr lang="en-US" sz="2000" dirty="0"/>
              <a:t>Blank Cells  Excel : =Count Blank cells </a:t>
            </a:r>
          </a:p>
          <a:p>
            <a:pPr marL="0" indent="0">
              <a:buNone/>
            </a:pPr>
            <a:r>
              <a:rPr lang="en-US" sz="2000" b="1" dirty="0"/>
              <a:t>Illogical data : </a:t>
            </a:r>
          </a:p>
          <a:p>
            <a:pPr marL="0" indent="0">
              <a:buNone/>
            </a:pPr>
            <a:r>
              <a:rPr lang="en-US" sz="1800" dirty="0"/>
              <a:t>:Profit was illogical High compared with revenue As profit was 2.8 Million ,while </a:t>
            </a:r>
            <a:r>
              <a:rPr lang="en-US" sz="1800" dirty="0" err="1"/>
              <a:t>Reveune</a:t>
            </a:r>
            <a:r>
              <a:rPr lang="en-US" sz="1800" dirty="0"/>
              <a:t> 5.3 Million  , while Cost was represent ( 0.15 Million ) 3 % out of Revenue which it’s illogical , we found that there was cost element that weren’t added  ( Power [include cost of electricity – gas – water ] also the infrastructure cost [include Machines – Tools – water ] and other factors of cost.. The cost which has been calculated focused on material consumption </a:t>
            </a:r>
          </a:p>
          <a:p>
            <a:pPr marL="0" indent="0">
              <a:buNone/>
            </a:pPr>
            <a:endParaRPr lang="en-US" sz="200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8CEA4F-D72A-C069-6A51-328B103CA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E473402-19FD-A5B0-5CB6-E5F3926D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9D1CAD-2EA2-9376-7B64-0C3AC590F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16F8906-918C-BE0B-A4AB-6A1D4815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AEF284F-1226-E388-564B-E945DDF6D4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41895"/>
              </p:ext>
            </p:extLst>
          </p:nvPr>
        </p:nvGraphicFramePr>
        <p:xfrm>
          <a:off x="6982631" y="2743341"/>
          <a:ext cx="4646644" cy="916683"/>
        </p:xfrm>
        <a:graphic>
          <a:graphicData uri="http://schemas.openxmlformats.org/drawingml/2006/table">
            <a:tbl>
              <a:tblPr firstRow="1" firstCol="1" bandRow="1"/>
              <a:tblGrid>
                <a:gridCol w="1119673">
                  <a:extLst>
                    <a:ext uri="{9D8B030D-6E8A-4147-A177-3AD203B41FA5}">
                      <a16:colId xmlns:a16="http://schemas.microsoft.com/office/drawing/2014/main" val="1727871617"/>
                    </a:ext>
                  </a:extLst>
                </a:gridCol>
                <a:gridCol w="1007706">
                  <a:extLst>
                    <a:ext uri="{9D8B030D-6E8A-4147-A177-3AD203B41FA5}">
                      <a16:colId xmlns:a16="http://schemas.microsoft.com/office/drawing/2014/main" val="2788731823"/>
                    </a:ext>
                  </a:extLst>
                </a:gridCol>
                <a:gridCol w="1054359">
                  <a:extLst>
                    <a:ext uri="{9D8B030D-6E8A-4147-A177-3AD203B41FA5}">
                      <a16:colId xmlns:a16="http://schemas.microsoft.com/office/drawing/2014/main" val="1939225546"/>
                    </a:ext>
                  </a:extLst>
                </a:gridCol>
                <a:gridCol w="1464906">
                  <a:extLst>
                    <a:ext uri="{9D8B030D-6E8A-4147-A177-3AD203B41FA5}">
                      <a16:colId xmlns:a16="http://schemas.microsoft.com/office/drawing/2014/main" val="2315470361"/>
                    </a:ext>
                  </a:extLst>
                </a:gridCol>
              </a:tblGrid>
              <a:tr h="6157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Product_Name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ategory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Inventory_Level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Unit_Sold_per_transaction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4509863"/>
                  </a:ext>
                </a:extLst>
              </a:tr>
              <a:tr h="3008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90</a:t>
                      </a:r>
                      <a:endParaRPr lang="en-US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4415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7424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952F55-47F5-BFE1-7105-52682082E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41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FD942-3F7C-4F0F-BE7C-9BA550B03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eaning &amp; Prepa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3ACD73-876C-AE2A-E727-EA9585B15C9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4360" y="2219864"/>
            <a:ext cx="9152877" cy="3699328"/>
          </a:xfrm>
        </p:spPr>
        <p:txBody>
          <a:bodyPr>
            <a:normAutofit/>
          </a:bodyPr>
          <a:lstStyle/>
          <a:p>
            <a:r>
              <a:rPr lang="en-US" sz="1800" b="1" dirty="0"/>
              <a:t>Missing Data :  </a:t>
            </a:r>
            <a:r>
              <a:rPr lang="en-US" sz="1800" dirty="0"/>
              <a:t>removed Record of 1 May as the month isn’t completed </a:t>
            </a:r>
          </a:p>
          <a:p>
            <a:pPr marL="0"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b="1" dirty="0"/>
              <a:t>Blank Data :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ll has many cell empty especially in Country name &amp; Category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ing Excel : </a:t>
            </a:r>
          </a:p>
          <a:p>
            <a:pPr marL="0"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untry name were missing in some records, we used Store ID via “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lookUp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ormula”</a:t>
            </a:r>
          </a:p>
          <a:p>
            <a:pPr marL="0"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tegory were missing in some records, we used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_Nam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via “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lookUp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ormula”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ing Python :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cell empty unit sold per transaction &amp; 1 cell inventory level , since these  count of cells has minor impact compared with the other records count we decided to drop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800" b="1" dirty="0">
              <a:solidFill>
                <a:srgbClr val="7030A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FB49E21-744F-1712-B29A-D9429B8C9C65}"/>
              </a:ext>
            </a:extLst>
          </p:cNvPr>
          <p:cNvSpPr txBox="1">
            <a:spLocks/>
          </p:cNvSpPr>
          <p:nvPr/>
        </p:nvSpPr>
        <p:spPr>
          <a:xfrm>
            <a:off x="5859261" y="4960504"/>
            <a:ext cx="5533009" cy="206982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>
                <a:solidFill>
                  <a:srgbClr val="AF00DB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import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 pandas </a:t>
            </a:r>
            <a:r>
              <a:rPr lang="en-US" sz="1800" dirty="0">
                <a:solidFill>
                  <a:srgbClr val="AF00DB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 pd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 = </a:t>
            </a: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pd.read_csv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en-US" sz="1800" dirty="0">
                <a:solidFill>
                  <a:srgbClr val="A31515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'/content/Uncleaned Data.csv'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.isnull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).</a:t>
            </a:r>
            <a:r>
              <a:rPr lang="en-US" sz="1800" dirty="0">
                <a:solidFill>
                  <a:srgbClr val="795E26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sum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)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.dropna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inplace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True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.info()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>
              <a:lnSpc>
                <a:spcPts val="1425"/>
              </a:lnSpc>
              <a:spcBef>
                <a:spcPts val="0"/>
              </a:spcBef>
            </a:pPr>
            <a:r>
              <a:rPr lang="en-US" sz="18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df.describe</a:t>
            </a:r>
            <a:r>
              <a:rPr lang="en-US" sz="18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Arial" panose="020B0604020202020204" pitchFamily="34" charset="0"/>
              </a:rPr>
              <a:t>()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632926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952F55-47F5-BFE1-7105-52682082E8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952F55-47F5-BFE1-7105-52682082E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FD942-3F7C-4F0F-BE7C-9BA550B03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eaning &amp; Prepar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FE9616-F972-116B-2276-28295F97261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99730" y="2282008"/>
            <a:ext cx="10668370" cy="3699328"/>
          </a:xfrm>
        </p:spPr>
        <p:txBody>
          <a:bodyPr/>
          <a:lstStyle/>
          <a:p>
            <a:r>
              <a:rPr lang="en-US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rmalization : 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 had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ly one table we’ve decided to 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parate this fact table into 3 tables main – Product info – Store Info </a:t>
            </a: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 info including (Product Code / </a:t>
            </a:r>
            <a:r>
              <a:rPr lang="en-US" sz="20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 Name /Category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ore Info (Store ID / </a:t>
            </a:r>
            <a:r>
              <a:rPr lang="en-US" sz="20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untry/City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ag (</a:t>
            </a:r>
            <a:r>
              <a:rPr lang="en-US" sz="20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ag URL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 Country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19ECA6F2-B18E-BDBC-9E13-B7BF484EEBF4}"/>
              </a:ext>
            </a:extLst>
          </p:cNvPr>
          <p:cNvSpPr txBox="1">
            <a:spLocks/>
          </p:cNvSpPr>
          <p:nvPr/>
        </p:nvSpPr>
        <p:spPr>
          <a:xfrm>
            <a:off x="1635711" y="4795868"/>
            <a:ext cx="8360546" cy="468590"/>
          </a:xfrm>
          <a:prstGeom prst="rect">
            <a:avLst/>
          </a:prstGeom>
        </p:spPr>
        <p:txBody>
          <a:bodyPr vert="horz" lIns="0" tIns="228600" rIns="0" bIns="0" rtlCol="0">
            <a:normAutofit fontScale="92500" lnSpcReduction="10000"/>
          </a:bodyPr>
          <a:lstStyle>
            <a:lvl1pPr marL="283464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b="1" dirty="0">
                <a:solidFill>
                  <a:srgbClr val="7030A0"/>
                </a:solidFill>
              </a:rPr>
              <a:t>*Columns names that shall be removed from fact table to subsidiary tables</a:t>
            </a:r>
          </a:p>
        </p:txBody>
      </p:sp>
    </p:spTree>
    <p:extLst>
      <p:ext uri="{BB962C8B-B14F-4D97-AF65-F5344CB8AC3E}">
        <p14:creationId xmlns:p14="http://schemas.microsoft.com/office/powerpoint/2010/main" val="22156734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9D3111C-82D0-D93D-78A8-57A07F2FF0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886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55873B-021D-72EB-8E4D-0672C7C92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Modeling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2E969B-9C41-0CA6-58CC-431095C37A9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E1DFDD"/>
              </a:clrFrom>
              <a:clrTo>
                <a:srgbClr val="E1DFD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01157" y="329589"/>
            <a:ext cx="8705063" cy="64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824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D65CD6-CE7A-D80E-BB58-1529FD9741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577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72FBDC82-ED0D-4651-26B1-430035BE6F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2935" y="1351792"/>
            <a:ext cx="5341838" cy="4200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AC0EAA-9898-567A-DFC3-B25212768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shboar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1A4759-09E2-D88B-3D8D-FABE794660E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8C8B4C-1D39-D411-E44F-444741EAECB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568" t="18511" r="25947" b="12783"/>
          <a:stretch/>
        </p:blipFill>
        <p:spPr>
          <a:xfrm>
            <a:off x="3598416" y="1775757"/>
            <a:ext cx="8593584" cy="471183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02353B8-AE5F-8604-A6F3-2E83C3FB98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97345" y="1824919"/>
            <a:ext cx="1738139" cy="914177"/>
          </a:xfrm>
          <a:prstGeom prst="rect">
            <a:avLst/>
          </a:prstGeom>
          <a:ln w="28575">
            <a:solidFill>
              <a:schemeClr val="accent5">
                <a:lumMod val="75000"/>
              </a:schemeClr>
            </a:solidFill>
          </a:ln>
        </p:spPr>
      </p:pic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BE311061-654C-84C2-CB2B-24A98AD31293}"/>
              </a:ext>
            </a:extLst>
          </p:cNvPr>
          <p:cNvCxnSpPr>
            <a:cxnSpLocks/>
          </p:cNvCxnSpPr>
          <p:nvPr/>
        </p:nvCxnSpPr>
        <p:spPr>
          <a:xfrm rot="16200000" flipH="1">
            <a:off x="10863581" y="1134691"/>
            <a:ext cx="777354" cy="69076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D5B4C696-E8FD-57CF-6825-D06E5D166BE8}"/>
              </a:ext>
            </a:extLst>
          </p:cNvPr>
          <p:cNvSpPr txBox="1"/>
          <p:nvPr/>
        </p:nvSpPr>
        <p:spPr>
          <a:xfrm>
            <a:off x="10266810" y="714062"/>
            <a:ext cx="1376039" cy="369332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Bookmark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A975612-DB18-74F2-4DA2-E635BE4F0E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80079" y="2117094"/>
            <a:ext cx="1386731" cy="616325"/>
          </a:xfrm>
          <a:prstGeom prst="rect">
            <a:avLst/>
          </a:prstGeom>
          <a:ln w="28575">
            <a:solidFill>
              <a:schemeClr val="accent5">
                <a:lumMod val="75000"/>
              </a:schemeClr>
            </a:solidFill>
          </a:ln>
        </p:spPr>
      </p:pic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EA861528-EC35-E82A-C00F-549ADB3432FE}"/>
              </a:ext>
            </a:extLst>
          </p:cNvPr>
          <p:cNvCxnSpPr>
            <a:cxnSpLocks/>
          </p:cNvCxnSpPr>
          <p:nvPr/>
        </p:nvCxnSpPr>
        <p:spPr>
          <a:xfrm rot="16200000" flipH="1">
            <a:off x="8823784" y="1310419"/>
            <a:ext cx="906950" cy="69076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1929DCF-8A9F-3E4A-43D4-79E4FCC496C6}"/>
              </a:ext>
            </a:extLst>
          </p:cNvPr>
          <p:cNvSpPr txBox="1"/>
          <p:nvPr/>
        </p:nvSpPr>
        <p:spPr>
          <a:xfrm>
            <a:off x="8305583" y="832994"/>
            <a:ext cx="1497691" cy="369332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Drill- Through</a:t>
            </a: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1C50C695-CB4D-CBED-C4A4-D2B4DCE28B79}"/>
              </a:ext>
            </a:extLst>
          </p:cNvPr>
          <p:cNvCxnSpPr>
            <a:cxnSpLocks/>
          </p:cNvCxnSpPr>
          <p:nvPr/>
        </p:nvCxnSpPr>
        <p:spPr>
          <a:xfrm>
            <a:off x="2716567" y="2654423"/>
            <a:ext cx="925766" cy="31359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93A6DC2-7D1B-0001-9EA1-7D3B921B4784}"/>
              </a:ext>
            </a:extLst>
          </p:cNvPr>
          <p:cNvSpPr txBox="1"/>
          <p:nvPr/>
        </p:nvSpPr>
        <p:spPr>
          <a:xfrm>
            <a:off x="932155" y="2469757"/>
            <a:ext cx="1809357" cy="369332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Page - Navigator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5C474CEB-C1B1-9110-B805-7F8C598688EA}"/>
              </a:ext>
            </a:extLst>
          </p:cNvPr>
          <p:cNvCxnSpPr>
            <a:cxnSpLocks/>
          </p:cNvCxnSpPr>
          <p:nvPr/>
        </p:nvCxnSpPr>
        <p:spPr>
          <a:xfrm rot="16200000" flipH="1">
            <a:off x="6333531" y="663797"/>
            <a:ext cx="777354" cy="69076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AA4741B-2569-AB8E-D89E-F6C30539B436}"/>
              </a:ext>
            </a:extLst>
          </p:cNvPr>
          <p:cNvSpPr txBox="1"/>
          <p:nvPr/>
        </p:nvSpPr>
        <p:spPr>
          <a:xfrm>
            <a:off x="4580878" y="401372"/>
            <a:ext cx="1783350" cy="58477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5">
                    <a:lumMod val="75000"/>
                  </a:schemeClr>
                </a:solidFill>
              </a:rPr>
              <a:t>Dynamic Title with Filtered item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9C54C440-78F9-6194-8555-2C3D7BE27C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3300" y="3233742"/>
            <a:ext cx="1036176" cy="3318307"/>
          </a:xfrm>
          <a:prstGeom prst="rect">
            <a:avLst/>
          </a:prstGeom>
        </p:spPr>
      </p:pic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252E6599-F9CB-041A-B331-85AD1B3F1475}"/>
              </a:ext>
            </a:extLst>
          </p:cNvPr>
          <p:cNvCxnSpPr>
            <a:cxnSpLocks/>
          </p:cNvCxnSpPr>
          <p:nvPr/>
        </p:nvCxnSpPr>
        <p:spPr>
          <a:xfrm>
            <a:off x="1836833" y="3582842"/>
            <a:ext cx="925766" cy="31359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C88BDBBE-E554-B9DD-1129-6FE34160F738}"/>
              </a:ext>
            </a:extLst>
          </p:cNvPr>
          <p:cNvCxnSpPr>
            <a:cxnSpLocks/>
          </p:cNvCxnSpPr>
          <p:nvPr/>
        </p:nvCxnSpPr>
        <p:spPr>
          <a:xfrm>
            <a:off x="3506680" y="2048808"/>
            <a:ext cx="816255" cy="799594"/>
          </a:xfrm>
          <a:prstGeom prst="bentConnector3">
            <a:avLst>
              <a:gd name="adj1" fmla="val 81541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ECE9BC51-FA01-2608-4500-666720ED0CF4}"/>
              </a:ext>
            </a:extLst>
          </p:cNvPr>
          <p:cNvSpPr txBox="1"/>
          <p:nvPr/>
        </p:nvSpPr>
        <p:spPr>
          <a:xfrm>
            <a:off x="988008" y="3341100"/>
            <a:ext cx="925766" cy="369332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Filt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FDAB25B-5D7E-B6C8-32FC-73CF74F2567B}"/>
              </a:ext>
            </a:extLst>
          </p:cNvPr>
          <p:cNvSpPr txBox="1"/>
          <p:nvPr/>
        </p:nvSpPr>
        <p:spPr>
          <a:xfrm>
            <a:off x="2130641" y="1806464"/>
            <a:ext cx="1421907" cy="369332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Clear -Filters</a:t>
            </a:r>
          </a:p>
        </p:txBody>
      </p:sp>
    </p:spTree>
    <p:extLst>
      <p:ext uri="{BB962C8B-B14F-4D97-AF65-F5344CB8AC3E}">
        <p14:creationId xmlns:p14="http://schemas.microsoft.com/office/powerpoint/2010/main" val="2276518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Swiss">
      <a:dk1>
        <a:srgbClr val="000000"/>
      </a:dk1>
      <a:lt1>
        <a:srgbClr val="FFFFFF"/>
      </a:lt1>
      <a:dk2>
        <a:srgbClr val="E4E4E4"/>
      </a:dk2>
      <a:lt2>
        <a:srgbClr val="7CA655"/>
      </a:lt2>
      <a:accent1>
        <a:srgbClr val="A9D4DB"/>
      </a:accent1>
      <a:accent2>
        <a:srgbClr val="FBE284"/>
      </a:accent2>
      <a:accent3>
        <a:srgbClr val="4495A2"/>
      </a:accent3>
      <a:accent4>
        <a:srgbClr val="AA5881"/>
      </a:accent4>
      <a:accent5>
        <a:srgbClr val="E06742"/>
      </a:accent5>
      <a:accent6>
        <a:srgbClr val="F9D448"/>
      </a:accent6>
      <a:hlink>
        <a:srgbClr val="4495A2"/>
      </a:hlink>
      <a:folHlink>
        <a:srgbClr val="AA5881"/>
      </a:folHlink>
    </a:clrScheme>
    <a:fontScheme name="Custom 175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78853419_Win32_SL_V5" id="{958D2C9E-948D-4354-BF9D-DF8AE3C2B240}" vid="{22D4A967-05D2-4D72-8594-54CFF34148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ackground xmlns="71af3243-3dd4-4a8d-8c0d-dd76da1f02a5">false</Background>
    <Status xmlns="71af3243-3dd4-4a8d-8c0d-dd76da1f02a5">Not started</Status>
    <_ip_UnifiedCompliancePolicyUIAction xmlns="http://schemas.microsoft.com/sharepoint/v3" xsi:nil="true"/>
    <Image xmlns="71af3243-3dd4-4a8d-8c0d-dd76da1f02a5">
      <Url xsi:nil="true"/>
      <Description xsi:nil="true"/>
    </Image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1FFAC0-05A2-416A-B06C-C248395482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F4B194E-8B30-4377-8C59-ECFB902D2A26}">
  <ds:schemaRefs>
    <ds:schemaRef ds:uri="http://schemas.microsoft.com/office/2006/metadata/properties"/>
    <ds:schemaRef ds:uri="http://schemas.microsoft.com/office/infopath/2007/PartnerControls"/>
    <ds:schemaRef ds:uri="71af3243-3dd4-4a8d-8c0d-dd76da1f02a5"/>
    <ds:schemaRef ds:uri="http://schemas.microsoft.com/sharepoint/v3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92DB9E12-8AC3-4138-BF4D-720A5525AB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A4BCB5F5-984E-43BD-B825-F550170196AF}tf78853419_win32</Template>
  <TotalTime>136</TotalTime>
  <Words>554</Words>
  <Application>Microsoft Office PowerPoint</Application>
  <PresentationFormat>Widescreen</PresentationFormat>
  <Paragraphs>86</Paragraphs>
  <Slides>16</Slides>
  <Notes>5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ourier New</vt:lpstr>
      <vt:lpstr>Franklin Gothic Book</vt:lpstr>
      <vt:lpstr>Franklin Gothic Demi</vt:lpstr>
      <vt:lpstr>Custom</vt:lpstr>
      <vt:lpstr>D:\A-Marian\DEPI\Project\Project Steps\Sameh\Version 2\Finalll\Delivered\Final Supermarket chain ..V4.pptx</vt:lpstr>
      <vt:lpstr>think-cell Slide</vt:lpstr>
      <vt:lpstr>Project  Documentation </vt:lpstr>
      <vt:lpstr>Content</vt:lpstr>
      <vt:lpstr>PowerPoint Presentation</vt:lpstr>
      <vt:lpstr>Ask Question</vt:lpstr>
      <vt:lpstr>Collection &amp; Exploring</vt:lpstr>
      <vt:lpstr>Cleaning &amp; Preparing</vt:lpstr>
      <vt:lpstr>Cleaning &amp; Preparing</vt:lpstr>
      <vt:lpstr>Data Modeling </vt:lpstr>
      <vt:lpstr>Dashboard</vt:lpstr>
      <vt:lpstr>PowerPoint Presentation</vt:lpstr>
      <vt:lpstr>PowerPoint Presentation</vt:lpstr>
      <vt:lpstr>Dashboard</vt:lpstr>
      <vt:lpstr>Dashboard</vt:lpstr>
      <vt:lpstr>Dashboard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 presentation</dc:title>
  <dc:creator>Marian Amread</dc:creator>
  <cp:lastModifiedBy>Marian Amread</cp:lastModifiedBy>
  <cp:revision>41</cp:revision>
  <dcterms:created xsi:type="dcterms:W3CDTF">2024-10-21T19:25:46Z</dcterms:created>
  <dcterms:modified xsi:type="dcterms:W3CDTF">2024-10-22T07:3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